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77" r:id="rId2"/>
  </p:sldMasterIdLst>
  <p:notesMasterIdLst>
    <p:notesMasterId r:id="rId37"/>
  </p:notesMasterIdLst>
  <p:handoutMasterIdLst>
    <p:handoutMasterId r:id="rId38"/>
  </p:handoutMasterIdLst>
  <p:sldIdLst>
    <p:sldId id="409" r:id="rId3"/>
    <p:sldId id="461" r:id="rId4"/>
    <p:sldId id="451" r:id="rId5"/>
    <p:sldId id="400" r:id="rId6"/>
    <p:sldId id="401" r:id="rId7"/>
    <p:sldId id="296" r:id="rId8"/>
    <p:sldId id="402" r:id="rId9"/>
    <p:sldId id="403" r:id="rId10"/>
    <p:sldId id="410" r:id="rId11"/>
    <p:sldId id="404" r:id="rId12"/>
    <p:sldId id="411" r:id="rId13"/>
    <p:sldId id="405" r:id="rId14"/>
    <p:sldId id="406" r:id="rId15"/>
    <p:sldId id="412" r:id="rId16"/>
    <p:sldId id="414" r:id="rId17"/>
    <p:sldId id="415" r:id="rId18"/>
    <p:sldId id="416" r:id="rId19"/>
    <p:sldId id="417" r:id="rId20"/>
    <p:sldId id="418" r:id="rId21"/>
    <p:sldId id="420" r:id="rId22"/>
    <p:sldId id="421" r:id="rId23"/>
    <p:sldId id="422" r:id="rId24"/>
    <p:sldId id="408" r:id="rId25"/>
    <p:sldId id="424" r:id="rId26"/>
    <p:sldId id="425" r:id="rId27"/>
    <p:sldId id="426" r:id="rId28"/>
    <p:sldId id="427" r:id="rId29"/>
    <p:sldId id="428" r:id="rId30"/>
    <p:sldId id="429" r:id="rId31"/>
    <p:sldId id="430" r:id="rId32"/>
    <p:sldId id="431" r:id="rId33"/>
    <p:sldId id="452" r:id="rId34"/>
    <p:sldId id="352" r:id="rId35"/>
    <p:sldId id="301" r:id="rId36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62" autoAdjust="0"/>
    <p:restoredTop sz="94605" autoAdjust="0"/>
  </p:normalViewPr>
  <p:slideViewPr>
    <p:cSldViewPr snapToGrid="0">
      <p:cViewPr varScale="1">
        <p:scale>
          <a:sx n="159" d="100"/>
          <a:sy n="159" d="100"/>
        </p:scale>
        <p:origin x="4386" y="132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259420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074417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790404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19222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259420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441492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186602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1922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82754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259420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074417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020522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027583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698936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632375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12772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80459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4728451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07716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2594207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480484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0421072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450088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76896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963051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1922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06D5035-281B-48A3-AAEF-370C250ED6CB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26BE868-DEDB-446D-8061-DA06019DF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  <p:extLst>
      <p:ext uri="{BB962C8B-B14F-4D97-AF65-F5344CB8AC3E}">
        <p14:creationId xmlns:p14="http://schemas.microsoft.com/office/powerpoint/2010/main" val="102775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E10A5ED6-BA28-4AB3-9FFA-AD4263DD4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CB87EDC-97F7-4F50-A29C-7C7880825747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3123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BCA9E9A2-5D3E-4A6D-98CA-FAD6AF8F5F4B}"/>
              </a:ext>
            </a:extLst>
          </p:cNvPr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920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0851EE6-6491-074F-9A62-4AE5D275B554}"/>
              </a:ext>
            </a:extLst>
          </p:cNvPr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F8FCD97E-1210-8E49-A3E6-087A08B4628B}"/>
              </a:ext>
            </a:extLst>
          </p:cNvPr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1EBC602-977D-2E4D-936A-A720A33E5F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6F59A00-FC52-814E-A4FA-34A355682DE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1F8E2B3-1AF5-E344-9FEB-7D9BBB6B1F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14E4CE0-1183-7E42-9C8E-632D338645F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537913-5FDE-4740-ACDA-21BC9AFC23D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D1555A-987F-1743-9074-0F1426D22CF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0BCFD9-ACBE-844E-8E38-48C32DA5031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DE7C2FB-9784-AB48-823F-3E3087D8251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7A7512E-A300-6949-8394-88CC02088232}"/>
              </a:ext>
            </a:extLst>
          </p:cNvPr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9635D535-85FB-5F46-8B39-8C156F6830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627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3BB3B47-2B46-D249-B092-A9CCE28AAB2F}"/>
              </a:ext>
            </a:extLst>
          </p:cNvPr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CF3102EB-F9B9-1143-9E23-3112F527DD90}"/>
              </a:ext>
            </a:extLst>
          </p:cNvPr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4D84D06-D058-6E4F-822A-0988906D4D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61A469E-ED3F-5643-941D-D33FA4BF16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023EE441-02DB-0A49-B917-B01072C76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4029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pPr/>
              <a:t>2022/5/16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497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2" r:id="rId4"/>
    <p:sldLayoutId id="2147483683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0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3.png"/><Relationship Id="rId5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Relationship Id="rId6" Type="http://schemas.openxmlformats.org/officeDocument/2006/relationships/image" Target="../media/image7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90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2.xml"/><Relationship Id="rId6" Type="http://schemas.openxmlformats.org/officeDocument/2006/relationships/image" Target="../media/image8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.xml"/><Relationship Id="rId6" Type="http://schemas.openxmlformats.org/officeDocument/2006/relationships/image" Target="../media/image10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6.xml"/><Relationship Id="rId6" Type="http://schemas.openxmlformats.org/officeDocument/2006/relationships/image" Target="../media/image901.png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image" Target="../media/image19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80.png"/><Relationship Id="rId5" Type="http://schemas.openxmlformats.org/officeDocument/2006/relationships/image" Target="../media/image17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5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.png"/><Relationship Id="rId5" Type="http://schemas.openxmlformats.org/officeDocument/2006/relationships/image" Target="../media/image200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png"/><Relationship Id="rId5" Type="http://schemas.openxmlformats.org/officeDocument/2006/relationships/image" Target="../media/image2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2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NUL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5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gif"/><Relationship Id="rId7" Type="http://schemas.openxmlformats.org/officeDocument/2006/relationships/image" Target="../media/image3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.png"/><Relationship Id="rId5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.png"/><Relationship Id="rId5" Type="http://schemas.openxmlformats.org/officeDocument/2006/relationships/image" Target="NUL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值函数估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3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17728" y="1785532"/>
            <a:ext cx="54921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无模型的强化学习、蒙特卡洛方法、蒙特卡洛价值预测、重要性采样、时序差分学习</a:t>
            </a:r>
            <a:endParaRPr lang="zh-CN" altLang="en-US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蒙特卡洛价值估计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7" y="1209707"/>
                <a:ext cx="7806195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：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策略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的经验片段学习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e>
                          </m:d>
                        </m:sup>
                      </m:sSubSup>
                      <m:limUpp>
                        <m:limUp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UppPr>
                        <m:e>
                          <m:groupChr>
                            <m:groupChrPr>
                              <m:chr m:val="→"/>
                              <m:pos m:val="top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groupChrPr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bSup>
                            </m:e>
                          </m:groupChr>
                        </m:e>
                        <m:lim>
                          <m:sSubSup>
                            <m:sSub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bSup>
                        </m:lim>
                      </m:limUpp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p>
                      </m:sSubSup>
                      <m:limUpp>
                        <m:limUp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UppPr>
                        <m:e>
                          <m:groupChr>
                            <m:groupChrPr>
                              <m:chr m:val="→"/>
                              <m:pos m:val="top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groupChrPr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bSup>
                            </m:e>
                          </m:groupChr>
                        </m:e>
                        <m:lim>
                          <m:sSubSup>
                            <m:sSub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bSup>
                        </m:lim>
                      </m:limUpp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p>
                      </m:sSubSup>
                      <m:limUpp>
                        <m:limUp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UppPr>
                        <m:e>
                          <m:groupChr>
                            <m:groupChrPr>
                              <m:chr m:val="→"/>
                              <m:pos m:val="top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groupChrPr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m:rPr>
                                      <m:brk m:alnAt="1"/>
                                    </m:r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3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bSup>
                            </m:e>
                          </m:groupChr>
                        </m:e>
                        <m:lim>
                          <m:sSubSup>
                            <m:sSub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bSup>
                        </m:lim>
                      </m:limUpp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3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p>
                      </m:sSubSup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…</m:t>
                      </m:r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𝑇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b="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e>
                          </m:d>
                        </m:sup>
                      </m:sSub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~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𝜋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回顾：累计奖励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tur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是总折扣奖励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𝐺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…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𝑇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1</m:t>
                          </m:r>
                        </m:sup>
                      </m:sSup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𝑇</m:t>
                          </m:r>
                        </m:sub>
                      </m:sSub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回顾：值函数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value functio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是期望累计奖励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…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</m:d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𝐺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</m:d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≃&amp;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𝑁</m:t>
                              </m:r>
                            </m:den>
                          </m:f>
                          <m:nary>
                            <m:naryPr>
                              <m:chr m:val="∑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𝑁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𝐺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nary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7" y="1209707"/>
                <a:ext cx="7806195" cy="5237138"/>
              </a:xfrm>
              <a:prstGeom prst="rect">
                <a:avLst/>
              </a:prstGeom>
              <a:blipFill>
                <a:blip r:embed="rId5"/>
                <a:stretch>
                  <a:fillRect l="-469" t="-46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267FCD8C-104B-4E65-AD55-23B19B1937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155193" y="4860814"/>
                <a:ext cx="4485172" cy="81245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/>
                <a:r>
                  <a:rPr lang="zh-CN" altLang="en-US" sz="16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策略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sz="16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状态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sz="16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采样</a:t>
                </a:r>
                <a14:m>
                  <m:oMath xmlns:m="http://schemas.openxmlformats.org/officeDocument/2006/math">
                    <m:r>
                      <a:rPr lang="en-US" altLang="zh-CN" sz="16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𝑁</m:t>
                    </m:r>
                  </m:oMath>
                </a14:m>
                <a:r>
                  <a:rPr lang="zh-CN" altLang="en-US" sz="16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片段</a:t>
                </a:r>
                <a:endParaRPr lang="en-US" altLang="zh-CN" sz="1600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160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计算平均累计奖励</a:t>
                </a:r>
                <a:endParaRPr lang="en-US" altLang="zh-CN" sz="1600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267FCD8C-104B-4E65-AD55-23B19B1937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5193" y="4860814"/>
                <a:ext cx="4485172" cy="812453"/>
              </a:xfrm>
              <a:prstGeom prst="rect">
                <a:avLst/>
              </a:prstGeom>
              <a:blipFill>
                <a:blip r:embed="rId6"/>
                <a:stretch>
                  <a:fillRect t="-14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内容占位符 2">
            <a:extLst>
              <a:ext uri="{FF2B5EF4-FFF2-40B4-BE49-F238E27FC236}">
                <a16:creationId xmlns:a16="http://schemas.microsoft.com/office/drawing/2014/main" id="{686E7EB9-3CE8-45C4-A95F-58612B0A404D}"/>
              </a:ext>
            </a:extLst>
          </p:cNvPr>
          <p:cNvSpPr txBox="1">
            <a:spLocks/>
          </p:cNvSpPr>
          <p:nvPr/>
        </p:nvSpPr>
        <p:spPr>
          <a:xfrm>
            <a:off x="469137" y="5854274"/>
            <a:ext cx="8018796" cy="591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蒙特卡洛策略评估使用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经验均值累计奖励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而不是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期望累计奖励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59312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蒙特卡洛价值估计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697152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实现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采样片段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5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e>
                          </m:d>
                        </m:sup>
                      </m:sSubSup>
                      <m:limUpp>
                        <m:limUp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UppPr>
                        <m:e>
                          <m:groupChr>
                            <m:groupChrPr>
                              <m:chr m:val="→"/>
                              <m:pos m:val="top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groupChrPr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bSup>
                            </m:e>
                          </m:groupChr>
                        </m:e>
                        <m:lim>
                          <m:sSubSup>
                            <m:sSub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bSup>
                        </m:lim>
                      </m:limUpp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p>
                      </m:sSubSup>
                      <m:limUpp>
                        <m:limUp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UppPr>
                        <m:e>
                          <m:groupChr>
                            <m:groupChrPr>
                              <m:chr m:val="→"/>
                              <m:pos m:val="top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groupChrPr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bSup>
                            </m:e>
                          </m:groupChr>
                        </m:e>
                        <m:lim>
                          <m:sSubSup>
                            <m:sSub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bSup>
                        </m:lim>
                      </m:limUpp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p>
                      </m:sSubSup>
                      <m:limUpp>
                        <m:limUp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limUppPr>
                        <m:e>
                          <m:groupChr>
                            <m:groupChrPr>
                              <m:chr m:val="→"/>
                              <m:pos m:val="top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groupChrPr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m:rPr>
                                      <m:brk m:alnAt="1"/>
                                    </m:r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m:rPr>
                                      <m:brk m:alnAt="1"/>
                                    </m:r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3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𝑖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bSup>
                            </m:e>
                          </m:groupChr>
                        </m:e>
                        <m:lim>
                          <m:sSubSup>
                            <m:sSub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bSup>
                        </m:lim>
                      </m:limUpp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3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p>
                      </m:sSubSup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…</m:t>
                      </m:r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𝑇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b="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e>
                          </m:d>
                        </m:sup>
                      </m:sSub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~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𝜋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一个片段中的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每个时间步长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都被访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增量计数器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𝑁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𝑁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1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增量总累计奖励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:r>
                  <a:rPr lang="zh-CN" altLang="en-US" dirty="0"/>
                  <a:t>价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被估计为累计奖励的均值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/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𝑁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由大数定率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5715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→</m:t>
                      </m:r>
                      <m:sSup>
                        <m:sSup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</m:t>
                      </m:r>
                      <m:r>
                        <m:rPr>
                          <m:sty m:val="p"/>
                        </m:rP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as</m:t>
                      </m:r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</m:t>
                      </m:r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𝑁</m:t>
                      </m:r>
                      <m:d>
                        <m:d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→∞</m:t>
                      </m:r>
                    </m:oMath>
                  </m:oMathPara>
                </a14:m>
                <a:endPara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697152" cy="5237138"/>
              </a:xfrm>
              <a:prstGeom prst="rect">
                <a:avLst/>
              </a:prstGeom>
              <a:blipFill>
                <a:blip r:embed="rId5"/>
                <a:stretch>
                  <a:fillRect l="-47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14734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增量蒙特卡洛更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593594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每个片段结束后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逐步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每个状态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对应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累计奖励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5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𝑁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den>
                          </m:f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𝐺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非稳定的问题（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即，环境会随时间发生变化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，我们可以跟踪一个现阶段的平均值（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即，不考虑过久之前的片段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593594" cy="5237138"/>
              </a:xfrm>
              <a:prstGeom prst="rect">
                <a:avLst/>
              </a:prstGeom>
              <a:blipFill>
                <a:blip r:embed="rId5"/>
                <a:stretch>
                  <a:fillRect l="-4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0658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蒙特</a:t>
            </a:r>
            <a:r>
              <a:rPr lang="zh-CN" altLang="en-US" dirty="0"/>
              <a:t>卡洛值估计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853" y="1106515"/>
                <a:ext cx="8136512" cy="555554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1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                 </m:t>
                      </m:r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≃&amp;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𝑁</m:t>
                              </m:r>
                            </m:den>
                          </m:f>
                          <m:nary>
                            <m:naryPr>
                              <m:chr m:val="∑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𝑁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𝐺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  <m: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bSup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𝐺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7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蒙特卡洛方法：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直接从经验片段进行学习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蒙特卡洛是模型无关的：未知马尔可夫决策过程的状态转移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/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蒙特卡洛从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完整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片段中进行学习：没有使用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ootstrappin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方法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蒙特卡洛采用最简单的思想：值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value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=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平均累计奖励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ean retur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注意：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只能将蒙特卡洛方法应用于有限长度的马尔可夫决策过程中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即，所有的片段都有终止状态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853" y="1106515"/>
                <a:ext cx="8136512" cy="5555541"/>
              </a:xfrm>
              <a:prstGeom prst="rect">
                <a:avLst/>
              </a:prstGeom>
              <a:blipFill>
                <a:blip r:embed="rId5"/>
                <a:stretch>
                  <a:fillRect l="-4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文本框 2"/>
          <p:cNvSpPr txBox="1"/>
          <p:nvPr/>
        </p:nvSpPr>
        <p:spPr>
          <a:xfrm>
            <a:off x="2369975" y="1542528"/>
            <a:ext cx="1045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思路：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2369975" y="2135434"/>
            <a:ext cx="1045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实现：</a:t>
            </a:r>
          </a:p>
        </p:txBody>
      </p:sp>
    </p:spTree>
    <p:extLst>
      <p:ext uri="{BB962C8B-B14F-4D97-AF65-F5344CB8AC3E}">
        <p14:creationId xmlns:p14="http://schemas.microsoft.com/office/powerpoint/2010/main" val="334637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3755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重要性采样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0345C9A-2F2D-4CD1-9995-B0F3CD0534CF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0003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重要性采样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377658"/>
                <a:ext cx="7593594" cy="470590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估计一个不同分布的期望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12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~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𝑓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</m:sup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𝑝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𝑓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𝑑𝑥</m:t>
                              </m:r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𝑥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𝑞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nary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𝑝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𝑞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𝑓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𝑥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𝑑𝑥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𝑥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~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𝑞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𝑝</m:t>
                                  </m:r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𝑞</m:t>
                                  </m:r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</m:e>
                                  </m:d>
                                </m:den>
                              </m:f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𝑓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将每个实例的权重重新分配为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𝛽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f>
                      <m:f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𝑝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𝑥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)</m:t>
                        </m:r>
                      </m:num>
                      <m:den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𝑞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𝑥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)</m:t>
                        </m:r>
                      </m:den>
                    </m:f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377658"/>
                <a:ext cx="7593594" cy="4705901"/>
              </a:xfrm>
              <a:prstGeom prst="rect">
                <a:avLst/>
              </a:prstGeom>
              <a:blipFill>
                <a:blip r:embed="rId5"/>
                <a:stretch>
                  <a:fillRect l="-4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13027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使用重要性采样的</a:t>
            </a:r>
            <a:r>
              <a:rPr lang="zh-CN" altLang="en-US" dirty="0"/>
              <a:t>离线策略蒙特卡洛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396319"/>
                <a:ext cx="7734474" cy="414606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</a:t>
                </a:r>
                <a:r>
                  <a:rPr lang="zh-CN" altLang="en-US" b="0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𝜇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产生的累计奖励评估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两个策略之间的重要性比率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importance ratio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对累计奖励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加权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每个片段乘以重要性比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}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…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𝑇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~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𝜇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𝐺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/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𝜇</m:t>
                          </m:r>
                        </m:sup>
                      </m:sSub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𝜇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den>
                      </m:f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𝜇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…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𝑇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𝑇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𝜇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𝑇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𝑇</m:t>
                                  </m:r>
                                </m:sub>
                              </m:sSub>
                            </m:e>
                          </m:d>
                        </m:den>
                      </m:f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𝐺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396319"/>
                <a:ext cx="7734474" cy="4146064"/>
              </a:xfrm>
              <a:prstGeom prst="rect">
                <a:avLst/>
              </a:prstGeom>
              <a:blipFill>
                <a:blip r:embed="rId6"/>
                <a:stretch>
                  <a:fillRect l="-473" r="-70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4155942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使用重要性采样的</a:t>
            </a:r>
            <a:r>
              <a:rPr lang="zh-CN" altLang="en-US" dirty="0"/>
              <a:t>离线策略蒙特卡洛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377658"/>
                <a:ext cx="7593594" cy="400610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函数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逼近修正的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累计奖励值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/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𝜇</m:t>
                              </m:r>
                            </m:sup>
                          </m:sSub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377658"/>
                <a:ext cx="7593594" cy="4006105"/>
              </a:xfrm>
              <a:prstGeom prst="rect">
                <a:avLst/>
              </a:prstGeom>
              <a:blipFill>
                <a:blip r:embed="rId6"/>
                <a:stretch>
                  <a:fillRect l="-4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圆角矩形 2"/>
          <p:cNvSpPr/>
          <p:nvPr/>
        </p:nvSpPr>
        <p:spPr>
          <a:xfrm>
            <a:off x="2066572" y="3090604"/>
            <a:ext cx="5010539" cy="152089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chemeClr val="accent1"/>
                </a:solidFill>
              </a:ln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52559" y="3255283"/>
                <a:ext cx="4764229" cy="14588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57150" indent="0">
                  <a:lnSpc>
                    <a:spcPct val="150000"/>
                  </a:lnSpc>
                  <a:buNone/>
                </a:pPr>
                <a:r>
                  <a:rPr lang="zh-CN" altLang="en-US" sz="18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无法在</a:t>
                </a:r>
                <a14:m>
                  <m:oMath xmlns:m="http://schemas.openxmlformats.org/officeDocument/2006/math">
                    <m:r>
                      <a:rPr lang="en-US" altLang="zh-CN" sz="18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sz="18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非零而</a:t>
                </a:r>
                <a14:m>
                  <m:oMath xmlns:m="http://schemas.openxmlformats.org/officeDocument/2006/math">
                    <m:r>
                      <a:rPr lang="en-US" altLang="zh-CN" sz="18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𝜇</m:t>
                    </m:r>
                  </m:oMath>
                </a14:m>
                <a:r>
                  <a:rPr lang="zh-CN" altLang="en-US" sz="18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零时使用</a:t>
                </a:r>
                <a:endParaRPr lang="en-US" altLang="zh-CN" sz="1800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57150" indent="0">
                  <a:lnSpc>
                    <a:spcPct val="150000"/>
                  </a:lnSpc>
                  <a:buNone/>
                </a:pPr>
                <a:r>
                  <a:rPr lang="zh-CN" altLang="en-US" sz="18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要性采样将显著增大方差（</a:t>
                </a:r>
                <a:r>
                  <a:rPr lang="en-US" altLang="zh-CN" sz="18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variance</a:t>
                </a:r>
                <a:r>
                  <a:rPr lang="zh-CN" altLang="en-US" sz="18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zh-CN" altLang="en-US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52559" y="3255283"/>
                <a:ext cx="4764229" cy="145884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39528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使用重要性采样的</a:t>
            </a:r>
            <a:r>
              <a:rPr lang="zh-CN" altLang="en-US" dirty="0"/>
              <a:t>离线策略时序差分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7" y="1209707"/>
                <a:ext cx="7753135" cy="530306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𝜇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产生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目标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评估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重要性采样对时序差分目标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𝑟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)</m:t>
                    </m:r>
                  </m:oMath>
                </a14:m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加权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仅需要一步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来进行重要性采样修正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5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𝜇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den>
                          </m:f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7" y="1209707"/>
                <a:ext cx="7753135" cy="5303060"/>
              </a:xfrm>
              <a:prstGeom prst="rect">
                <a:avLst/>
              </a:prstGeom>
              <a:blipFill>
                <a:blip r:embed="rId6"/>
                <a:stretch>
                  <a:fillRect l="-47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文本框 8">
            <a:extLst>
              <a:ext uri="{FF2B5EF4-FFF2-40B4-BE49-F238E27FC236}">
                <a16:creationId xmlns:a16="http://schemas.microsoft.com/office/drawing/2014/main" id="{183A36F6-28DE-486D-B724-763B5DA0D80F}"/>
              </a:ext>
            </a:extLst>
          </p:cNvPr>
          <p:cNvSpPr txBox="1"/>
          <p:nvPr/>
        </p:nvSpPr>
        <p:spPr>
          <a:xfrm>
            <a:off x="3245112" y="4008636"/>
            <a:ext cx="15985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重要性采样修正</a:t>
            </a:r>
            <a:endParaRPr lang="en-US" sz="1600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6" name="直接箭头连接符 10">
            <a:extLst>
              <a:ext uri="{FF2B5EF4-FFF2-40B4-BE49-F238E27FC236}">
                <a16:creationId xmlns:a16="http://schemas.microsoft.com/office/drawing/2014/main" id="{E514F6C4-5F79-435C-9A85-E73A89261577}"/>
              </a:ext>
            </a:extLst>
          </p:cNvPr>
          <p:cNvCxnSpPr/>
          <p:nvPr/>
        </p:nvCxnSpPr>
        <p:spPr>
          <a:xfrm flipV="1">
            <a:off x="4044370" y="3728921"/>
            <a:ext cx="0" cy="26798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文本框 11">
            <a:extLst>
              <a:ext uri="{FF2B5EF4-FFF2-40B4-BE49-F238E27FC236}">
                <a16:creationId xmlns:a16="http://schemas.microsoft.com/office/drawing/2014/main" id="{2F39E26B-3DFE-454E-9A53-0E61465F5388}"/>
              </a:ext>
            </a:extLst>
          </p:cNvPr>
          <p:cNvSpPr txBox="1"/>
          <p:nvPr/>
        </p:nvSpPr>
        <p:spPr>
          <a:xfrm>
            <a:off x="4897083" y="4017091"/>
            <a:ext cx="13965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时序差分目标</a:t>
            </a:r>
            <a:endParaRPr lang="en-US" altLang="zh-CN" sz="1600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8" name="直接箭头连接符 12">
            <a:extLst>
              <a:ext uri="{FF2B5EF4-FFF2-40B4-BE49-F238E27FC236}">
                <a16:creationId xmlns:a16="http://schemas.microsoft.com/office/drawing/2014/main" id="{05FE74AF-479A-42D1-B050-5D3E188AC710}"/>
              </a:ext>
            </a:extLst>
          </p:cNvPr>
          <p:cNvCxnSpPr/>
          <p:nvPr/>
        </p:nvCxnSpPr>
        <p:spPr>
          <a:xfrm flipV="1">
            <a:off x="5595358" y="3728921"/>
            <a:ext cx="0" cy="26798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右大括号 13">
            <a:extLst>
              <a:ext uri="{FF2B5EF4-FFF2-40B4-BE49-F238E27FC236}">
                <a16:creationId xmlns:a16="http://schemas.microsoft.com/office/drawing/2014/main" id="{764B5B24-0DD8-4CA1-AF28-892CB01FF2CC}"/>
              </a:ext>
            </a:extLst>
          </p:cNvPr>
          <p:cNvSpPr/>
          <p:nvPr/>
        </p:nvSpPr>
        <p:spPr>
          <a:xfrm rot="5400000">
            <a:off x="5544552" y="2629560"/>
            <a:ext cx="101600" cy="1895475"/>
          </a:xfrm>
          <a:prstGeom prst="righ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圆角矩形 9"/>
          <p:cNvSpPr/>
          <p:nvPr/>
        </p:nvSpPr>
        <p:spPr>
          <a:xfrm>
            <a:off x="2053034" y="4558220"/>
            <a:ext cx="5010539" cy="152089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chemeClr val="accent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D5B38259-0A6A-4BAA-BA7E-2BC782776C99}"/>
              </a:ext>
            </a:extLst>
          </p:cNvPr>
          <p:cNvSpPr txBox="1">
            <a:spLocks/>
          </p:cNvSpPr>
          <p:nvPr/>
        </p:nvSpPr>
        <p:spPr>
          <a:xfrm>
            <a:off x="2519093" y="4768077"/>
            <a:ext cx="4078420" cy="11011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40000"/>
              </a:lnSpc>
              <a:buNone/>
            </a:pPr>
            <a:r>
              <a:rPr lang="zh-CN" altLang="en-US" sz="18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具有比蒙特卡洛重要性采样更低的方差</a:t>
            </a:r>
            <a:endParaRPr lang="en-US" altLang="zh-CN" sz="1800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140000"/>
              </a:lnSpc>
              <a:buNone/>
            </a:pPr>
            <a:r>
              <a:rPr lang="zh-CN" altLang="en-US" sz="18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仅需在单步中被近似</a:t>
            </a:r>
            <a:endParaRPr lang="en-US" altLang="zh-CN" sz="1800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171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3755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时序差分学习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1213995-06D6-42FB-AEF7-F8E7BA1FE9A9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8568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强化学习、探索与利用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MDP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和动态规划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值函数估计</a:t>
            </a:r>
            <a:endParaRPr lang="en-US" sz="2400" dirty="0">
              <a:solidFill>
                <a:srgbClr val="FF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规划与学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参数化的值函数和策略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4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多智能体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369960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时序差分学习（</a:t>
            </a:r>
            <a:r>
              <a:rPr lang="en-US" altLang="zh-CN" dirty="0">
                <a:solidFill>
                  <a:srgbClr val="00B0F0"/>
                </a:solidFill>
              </a:rPr>
              <a:t>Temporal Difference Learning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2232" y="1209707"/>
                <a:ext cx="7958627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𝐺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 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2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p>
                      </m:sSup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3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…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方法直接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经验片段中进行学习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是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模型无关的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需要预先获取马尔可夫决策过程的状态转移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/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通过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ootstrapping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时序差分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不完整的片段中学习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更新当前预测值使之接近估计累计奖励（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非真实值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232" y="1209707"/>
                <a:ext cx="7958627" cy="5237138"/>
              </a:xfrm>
              <a:prstGeom prst="rect">
                <a:avLst/>
              </a:prstGeom>
              <a:blipFill>
                <a:blip r:embed="rId5"/>
                <a:stretch>
                  <a:fillRect l="-46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本框 5">
            <a:extLst>
              <a:ext uri="{FF2B5EF4-FFF2-40B4-BE49-F238E27FC236}">
                <a16:creationId xmlns:a16="http://schemas.microsoft.com/office/drawing/2014/main" id="{AFBED4FA-78D2-4095-A7D4-F8841B08AD71}"/>
              </a:ext>
            </a:extLst>
          </p:cNvPr>
          <p:cNvSpPr txBox="1"/>
          <p:nvPr/>
        </p:nvSpPr>
        <p:spPr>
          <a:xfrm>
            <a:off x="3918031" y="2519416"/>
            <a:ext cx="7906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观测值</a:t>
            </a:r>
            <a:endParaRPr lang="en-US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9" name="文本框 6">
            <a:extLst>
              <a:ext uri="{FF2B5EF4-FFF2-40B4-BE49-F238E27FC236}">
                <a16:creationId xmlns:a16="http://schemas.microsoft.com/office/drawing/2014/main" id="{E0078276-C854-441B-BEE4-670CFC5D6642}"/>
              </a:ext>
            </a:extLst>
          </p:cNvPr>
          <p:cNvSpPr txBox="1"/>
          <p:nvPr/>
        </p:nvSpPr>
        <p:spPr>
          <a:xfrm>
            <a:off x="4925442" y="2525005"/>
            <a:ext cx="13965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未来的猜测</a:t>
            </a:r>
            <a:endParaRPr lang="en-US" sz="16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10" name="直接箭头连接符 8">
            <a:extLst>
              <a:ext uri="{FF2B5EF4-FFF2-40B4-BE49-F238E27FC236}">
                <a16:creationId xmlns:a16="http://schemas.microsoft.com/office/drawing/2014/main" id="{E6461113-17E8-4A16-9B25-B24E3B620233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4313332" y="2252904"/>
            <a:ext cx="0" cy="26651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9">
            <a:extLst>
              <a:ext uri="{FF2B5EF4-FFF2-40B4-BE49-F238E27FC236}">
                <a16:creationId xmlns:a16="http://schemas.microsoft.com/office/drawing/2014/main" id="{AC71D7E7-FE54-4BE2-B74B-E3F3F374609F}"/>
              </a:ext>
            </a:extLst>
          </p:cNvPr>
          <p:cNvCxnSpPr/>
          <p:nvPr/>
        </p:nvCxnSpPr>
        <p:spPr>
          <a:xfrm flipH="1" flipV="1">
            <a:off x="5606723" y="2226391"/>
            <a:ext cx="2080" cy="29302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333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蒙特卡洛 </a:t>
            </a:r>
            <a:r>
              <a:rPr lang="en-US" altLang="zh-CN" dirty="0"/>
              <a:t>vs. </a:t>
            </a:r>
            <a:r>
              <a:rPr lang="zh-CN" altLang="en-US" dirty="0"/>
              <a:t>时序差分（</a:t>
            </a:r>
            <a:r>
              <a:rPr lang="en-US" altLang="zh-CN" dirty="0"/>
              <a:t>MC vs. TD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7" y="1209707"/>
                <a:ext cx="7809119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相同的目标：</a:t>
                </a:r>
                <a:r>
                  <a:rPr lang="zh-CN" altLang="en-US" b="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b="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的经验片段学习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增量地进行每次蒙特卡洛过程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C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值函数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之接近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准确累计奖励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简单的时序差分学习算法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D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之接近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估计累计奖励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目标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</m:e>
                    </m:d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误差：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𝛿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7" y="1209707"/>
                <a:ext cx="7809119" cy="5237138"/>
              </a:xfrm>
              <a:prstGeom prst="rect">
                <a:avLst/>
              </a:prstGeom>
              <a:blipFill>
                <a:blip r:embed="rId5"/>
                <a:stretch>
                  <a:fillRect l="-8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2437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驾车回家的例子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C vs. TD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EDE5C4EA-FDB1-40F7-8F82-6F0F86E43F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799201"/>
              </p:ext>
            </p:extLst>
          </p:nvPr>
        </p:nvGraphicFramePr>
        <p:xfrm>
          <a:off x="4185800" y="1176383"/>
          <a:ext cx="4437500" cy="20475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9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9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9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93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5167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状态</a:t>
                      </a:r>
                      <a:endParaRPr lang="en-US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经过的时间</a:t>
                      </a:r>
                      <a:endParaRPr lang="en-US" altLang="zh-CN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(</a:t>
                      </a:r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分钟</a:t>
                      </a:r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)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预计所剩时间</a:t>
                      </a:r>
                      <a:endParaRPr lang="en-US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预计总时间</a:t>
                      </a:r>
                      <a:endParaRPr lang="en-US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</a:txBody>
                  <a:tcPr marL="70673" marR="70673" marT="35337" marB="3533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31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离开公司</a:t>
                      </a:r>
                      <a:endParaRPr lang="en-US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0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30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30</a:t>
                      </a:r>
                    </a:p>
                  </a:txBody>
                  <a:tcPr marL="70673" marR="70673" marT="35337" marB="35337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67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开始驾车，</a:t>
                      </a:r>
                      <a:endParaRPr lang="en-US" altLang="zh-CN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下雨</a:t>
                      </a:r>
                      <a:endParaRPr lang="en-US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5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35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40</a:t>
                      </a:r>
                    </a:p>
                  </a:txBody>
                  <a:tcPr marL="70673" marR="70673" marT="35337" marB="35337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31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离开高速公路</a:t>
                      </a:r>
                      <a:endParaRPr lang="en-US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20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15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35</a:t>
                      </a:r>
                    </a:p>
                  </a:txBody>
                  <a:tcPr marL="70673" marR="70673" marT="35337" marB="35337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31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卡车后跟车</a:t>
                      </a:r>
                      <a:endParaRPr lang="en-US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30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10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40</a:t>
                      </a:r>
                    </a:p>
                  </a:txBody>
                  <a:tcPr marL="70673" marR="70673" marT="35337" marB="35337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31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到达家所在街道</a:t>
                      </a:r>
                      <a:endParaRPr lang="en-US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40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3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43</a:t>
                      </a:r>
                    </a:p>
                  </a:txBody>
                  <a:tcPr marL="70673" marR="70673" marT="35337" marB="35337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931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直奔家门</a:t>
                      </a:r>
                      <a:endParaRPr lang="en-US" sz="1000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endParaRP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43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0</a:t>
                      </a:r>
                    </a:p>
                  </a:txBody>
                  <a:tcPr marL="70673" marR="70673" marT="35337" marB="3533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阿里巴巴普惠体 R" panose="00020600040101010101" pitchFamily="18" charset="-122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a:t>43</a:t>
                      </a:r>
                    </a:p>
                  </a:txBody>
                  <a:tcPr marL="70673" marR="70673" marT="35337" marB="35337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6" name="图片 5" descr="图片包含 汽车, 户外, 道路, 视图&#10;&#10;描述已自动生成">
            <a:extLst>
              <a:ext uri="{FF2B5EF4-FFF2-40B4-BE49-F238E27FC236}">
                <a16:creationId xmlns:a16="http://schemas.microsoft.com/office/drawing/2014/main" id="{59D0038D-7ACA-4AC7-A091-C2652C3525D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3" t="4619" b="5626"/>
          <a:stretch/>
        </p:blipFill>
        <p:spPr>
          <a:xfrm>
            <a:off x="475247" y="1176383"/>
            <a:ext cx="3609472" cy="2047543"/>
          </a:xfrm>
          <a:prstGeom prst="rect">
            <a:avLst/>
          </a:prstGeom>
        </p:spPr>
      </p:pic>
      <p:pic>
        <p:nvPicPr>
          <p:cNvPr id="7" name="内容占位符 3">
            <a:extLst>
              <a:ext uri="{FF2B5EF4-FFF2-40B4-BE49-F238E27FC236}">
                <a16:creationId xmlns:a16="http://schemas.microsoft.com/office/drawing/2014/main" id="{BE1FCCFE-479C-42DA-A5A6-D2EDC5AE57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2290" y="3249478"/>
            <a:ext cx="6776334" cy="324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68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蒙特卡洛（</a:t>
            </a:r>
            <a:r>
              <a:rPr lang="en-US" altLang="zh-CN" dirty="0"/>
              <a:t>MC</a:t>
            </a:r>
            <a:r>
              <a:rPr lang="zh-CN" altLang="en-US" dirty="0"/>
              <a:t>）和时序差分（</a:t>
            </a:r>
            <a:r>
              <a:rPr lang="en-US" altLang="zh-CN" dirty="0"/>
              <a:t>TD</a:t>
            </a:r>
            <a:r>
              <a:rPr lang="zh-CN" altLang="en-US" dirty="0"/>
              <a:t>）的优缺点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D5B38259-0A6A-4BAA-BA7E-2BC782776C99}"/>
              </a:ext>
            </a:extLst>
          </p:cNvPr>
          <p:cNvSpPr txBox="1">
            <a:spLocks/>
          </p:cNvSpPr>
          <p:nvPr/>
        </p:nvSpPr>
        <p:spPr>
          <a:xfrm>
            <a:off x="681738" y="1209707"/>
            <a:ext cx="7734474" cy="5237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时序差分：能够在知道最后结果之前进行学习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时序差分能够在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每一步之后进行在线学习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蒙特卡洛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必须等待片段结束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直到累计奖励已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时序差分：能够无需最后结果地进行学习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时序差分能够从不完整的序列中学习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蒙特卡洛只能从完整序列中学习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时序差分在连续（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无终止的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环境下工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蒙特卡洛只能在片段化的（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有终止的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环境下工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2468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偏差（</a:t>
            </a:r>
            <a:r>
              <a:rPr lang="en-US" altLang="zh-CN" dirty="0"/>
              <a:t>Bias</a:t>
            </a:r>
            <a:r>
              <a:rPr lang="zh-CN" altLang="en-US" dirty="0"/>
              <a:t>）</a:t>
            </a:r>
            <a:r>
              <a:rPr lang="en-US" altLang="zh-CN" dirty="0"/>
              <a:t>/</a:t>
            </a:r>
            <a:r>
              <a:rPr lang="zh-CN" altLang="en-US" dirty="0"/>
              <a:t>方差（</a:t>
            </a:r>
            <a:r>
              <a:rPr lang="en-US" altLang="zh-CN" dirty="0"/>
              <a:t>Variance</a:t>
            </a:r>
            <a:r>
              <a:rPr lang="zh-CN" altLang="en-US" dirty="0"/>
              <a:t>）的权衡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818450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累计奖励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2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…+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𝑇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1</m:t>
                        </m:r>
                      </m:sup>
                    </m:sSup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𝑇</m:t>
                        </m:r>
                      </m:sub>
                    </m:sSub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无偏估计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</a:t>
                </a:r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真实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</m:e>
                    </m:d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无偏估计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m:rPr>
                        <m:nor/>
                      </m:rPr>
                      <a:rPr lang="zh-CN" altLang="en-US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</m:t>
                    </m:r>
                    <m:r>
                      <a:rPr lang="zh-CN" altLang="en-US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有</m:t>
                    </m:r>
                    <m:r>
                      <m:rPr>
                        <m:nor/>
                      </m:rPr>
                      <a:rPr lang="zh-CN" altLang="en-US" dirty="0">
                        <a:latin typeface="阿里巴巴普惠体 R" panose="00020600040101010101" pitchFamily="18" charset="-122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偏估计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目标具有比累计奖励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低的方差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累计奖励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——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取决于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多步随机动作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多步状态转移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多步奖励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目标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——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取决于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单步随机动作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单步状态转移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单步奖励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818450" cy="5237138"/>
              </a:xfrm>
              <a:prstGeom prst="rect">
                <a:avLst/>
              </a:prstGeom>
              <a:blipFill>
                <a:blip r:embed="rId6"/>
                <a:stretch>
                  <a:fillRect l="-46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2">
            <a:extLst>
              <a:ext uri="{FF2B5EF4-FFF2-40B4-BE49-F238E27FC236}">
                <a16:creationId xmlns:a16="http://schemas.microsoft.com/office/drawing/2014/main" id="{805D6309-8D02-4D72-9874-4CF4E5CE6C87}"/>
              </a:ext>
            </a:extLst>
          </p:cNvPr>
          <p:cNvSpPr/>
          <p:nvPr/>
        </p:nvSpPr>
        <p:spPr>
          <a:xfrm rot="5400000">
            <a:off x="3861014" y="2546118"/>
            <a:ext cx="143773" cy="825908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928480-2780-4509-9DFE-C3A21D63EDDB}"/>
              </a:ext>
            </a:extLst>
          </p:cNvPr>
          <p:cNvSpPr txBox="1"/>
          <p:nvPr/>
        </p:nvSpPr>
        <p:spPr>
          <a:xfrm>
            <a:off x="3491953" y="3095401"/>
            <a:ext cx="11847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当前估计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8444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蒙特卡洛（</a:t>
            </a:r>
            <a:r>
              <a:rPr lang="en-US" altLang="zh-CN" dirty="0"/>
              <a:t>MC</a:t>
            </a:r>
            <a:r>
              <a:rPr lang="zh-CN" altLang="en-US" dirty="0"/>
              <a:t>）和时序差分（</a:t>
            </a:r>
            <a:r>
              <a:rPr lang="en-US" altLang="zh-CN" dirty="0"/>
              <a:t>TD</a:t>
            </a:r>
            <a:r>
              <a:rPr lang="zh-CN" altLang="en-US" dirty="0"/>
              <a:t>）的优缺点（</a:t>
            </a:r>
            <a:r>
              <a:rPr lang="en-US" altLang="zh-CN" dirty="0"/>
              <a:t>2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D5B38259-0A6A-4BAA-BA7E-2BC782776C99}"/>
              </a:ext>
            </a:extLst>
          </p:cNvPr>
          <p:cNvSpPr txBox="1">
            <a:spLocks/>
          </p:cNvSpPr>
          <p:nvPr/>
        </p:nvSpPr>
        <p:spPr>
          <a:xfrm>
            <a:off x="513787" y="3316710"/>
            <a:ext cx="3899593" cy="29237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蒙特卡洛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具有高方差，无偏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良好的收敛性质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>
              <a:lnSpc>
                <a:spcPct val="150000"/>
              </a:lnSpc>
            </a:pP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函数近似时依然如此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初始值不敏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易于理解和使用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58415" y="3316710"/>
                <a:ext cx="3979313" cy="275580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50000"/>
                  </a:lnSpc>
                  <a:buNone/>
                </a:pPr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具有低方差，有偏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通常比蒙特卡洛更加高效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最终收敛到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但使用函数近似并不总是如此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比蒙特卡洛对初始值更加敏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8415" y="3316710"/>
                <a:ext cx="3979313" cy="275580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直接连接符 5"/>
          <p:cNvCxnSpPr/>
          <p:nvPr/>
        </p:nvCxnSpPr>
        <p:spPr>
          <a:xfrm>
            <a:off x="4558415" y="3413593"/>
            <a:ext cx="0" cy="23513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5FC584C5-3816-49BA-A3DC-AE4BBB3BB655}"/>
                  </a:ext>
                </a:extLst>
              </p:cNvPr>
              <p:cNvSpPr/>
              <p:nvPr/>
            </p:nvSpPr>
            <p:spPr>
              <a:xfrm>
                <a:off x="112197" y="2179583"/>
                <a:ext cx="3796453" cy="74751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</m:oMath>
                  </m:oMathPara>
                </a14:m>
                <a:endParaRPr lang="en-US" altLang="zh-CN" sz="2000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algn="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                            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5FC584C5-3816-49BA-A3DC-AE4BBB3BB65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97" y="2179583"/>
                <a:ext cx="3796453" cy="74751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36FD8DB8-6258-441F-80F2-6EF83492029D}"/>
                  </a:ext>
                </a:extLst>
              </p:cNvPr>
              <p:cNvSpPr/>
              <p:nvPr/>
            </p:nvSpPr>
            <p:spPr>
              <a:xfrm>
                <a:off x="1856851" y="2179583"/>
                <a:ext cx="7399344" cy="74751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</m:oMath>
                  </m:oMathPara>
                </a14:m>
                <a:endParaRPr lang="en-US" altLang="zh-CN" sz="2000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en-US" altLang="zh-CN" sz="200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                                            </a:t>
                </a:r>
                <a14:m>
                  <m:oMath xmlns:m="http://schemas.openxmlformats.org/officeDocument/2006/math">
                    <m:r>
                      <a:rPr lang="en-US" altLang="zh-CN" sz="20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d>
                      <m:dPr>
                        <m:ctrlPr>
                          <a:rPr lang="en-US" altLang="zh-CN" sz="20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0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sz="20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</m:e>
                          <m:sub>
                            <m:r>
                              <a:rPr lang="en-US" altLang="zh-CN" sz="20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sz="20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sz="20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  <m:d>
                          <m:dPr>
                            <m:ctrlPr>
                              <a:rPr lang="en-US" altLang="zh-CN" sz="20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20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20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lang="en-US" altLang="zh-CN" sz="20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  <m:r>
                                  <a:rPr lang="en-US" altLang="zh-CN" sz="20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+1</m:t>
                                </m:r>
                              </m:sub>
                            </m:sSub>
                          </m:e>
                        </m:d>
                        <m:r>
                          <a:rPr lang="en-US" altLang="zh-CN" sz="20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sz="20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  <m:d>
                          <m:dPr>
                            <m:ctrlPr>
                              <a:rPr lang="en-US" altLang="zh-CN" sz="2000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sz="20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sz="20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lang="en-US" altLang="zh-CN" sz="2000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</m:e>
                        </m:d>
                      </m:e>
                    </m:d>
                  </m:oMath>
                </a14:m>
                <a:r>
                  <a:rPr lang="zh-CN" altLang="en-US" sz="2000" dirty="0"/>
                  <a:t> </a:t>
                </a:r>
              </a:p>
            </p:txBody>
          </p:sp>
        </mc:Choice>
        <mc:Fallback xmlns="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36FD8DB8-6258-441F-80F2-6EF83492029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6851" y="2179583"/>
                <a:ext cx="7399344" cy="747512"/>
              </a:xfrm>
              <a:prstGeom prst="rect">
                <a:avLst/>
              </a:prstGeom>
              <a:blipFill>
                <a:blip r:embed="rId7"/>
                <a:stretch>
                  <a:fillRect b="-409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矩形 9">
            <a:extLst>
              <a:ext uri="{FF2B5EF4-FFF2-40B4-BE49-F238E27FC236}">
                <a16:creationId xmlns:a16="http://schemas.microsoft.com/office/drawing/2014/main" id="{1569D6AF-FD1E-4D57-9013-35B57A24259A}"/>
              </a:ext>
            </a:extLst>
          </p:cNvPr>
          <p:cNvSpPr/>
          <p:nvPr/>
        </p:nvSpPr>
        <p:spPr>
          <a:xfrm>
            <a:off x="1736445" y="1366603"/>
            <a:ext cx="93647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dirty="0"/>
              <a:t>MC:</a:t>
            </a:r>
            <a:endParaRPr lang="zh-CN" altLang="en-US" sz="3200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2E4246C2-BD0B-4F21-92B2-771F685F540A}"/>
              </a:ext>
            </a:extLst>
          </p:cNvPr>
          <p:cNvSpPr/>
          <p:nvPr/>
        </p:nvSpPr>
        <p:spPr>
          <a:xfrm>
            <a:off x="6125519" y="1366602"/>
            <a:ext cx="84510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dirty="0"/>
              <a:t>TD: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426167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随机游走的例子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pic>
        <p:nvPicPr>
          <p:cNvPr id="5" name="内容占位符 3">
            <a:extLst>
              <a:ext uri="{FF2B5EF4-FFF2-40B4-BE49-F238E27FC236}">
                <a16:creationId xmlns:a16="http://schemas.microsoft.com/office/drawing/2014/main" id="{63559B55-3F58-4137-AADB-B5C2257A6C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344" y="1320800"/>
            <a:ext cx="7821312" cy="4627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91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随机游走的例子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pic>
        <p:nvPicPr>
          <p:cNvPr id="6" name="内容占位符 4">
            <a:extLst>
              <a:ext uri="{FF2B5EF4-FFF2-40B4-BE49-F238E27FC236}">
                <a16:creationId xmlns:a16="http://schemas.microsoft.com/office/drawing/2014/main" id="{C3A33610-0B9B-4215-A20F-809089F704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842" y="1124155"/>
            <a:ext cx="7524316" cy="462756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087F9E5-2CAE-40BD-B2B1-09C6F8131800}"/>
                  </a:ext>
                </a:extLst>
              </p:cNvPr>
              <p:cNvSpPr txBox="1"/>
              <p:nvPr/>
            </p:nvSpPr>
            <p:spPr>
              <a:xfrm>
                <a:off x="4894275" y="1563328"/>
                <a:ext cx="3746090" cy="4397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𝛼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087F9E5-2CAE-40BD-B2B1-09C6F813180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4275" y="1563328"/>
                <a:ext cx="3746090" cy="43973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09B63EF7-A55D-467A-B441-332AEA7C8533}"/>
                  </a:ext>
                </a:extLst>
              </p:cNvPr>
              <p:cNvSpPr txBox="1"/>
              <p:nvPr/>
            </p:nvSpPr>
            <p:spPr>
              <a:xfrm>
                <a:off x="1536560" y="5751155"/>
                <a:ext cx="5926124" cy="4397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𝛼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𝛾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09B63EF7-A55D-467A-B441-332AEA7C85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6560" y="5751155"/>
                <a:ext cx="5926124" cy="439736"/>
              </a:xfrm>
              <a:prstGeom prst="rect">
                <a:avLst/>
              </a:prstGeom>
              <a:blipFill>
                <a:blip r:embed="rId7"/>
                <a:stretch>
                  <a:fillRect b="-547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0370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蒙特卡洛反向传播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Backup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pic>
        <p:nvPicPr>
          <p:cNvPr id="6" name="图片 4">
            <a:extLst>
              <a:ext uri="{FF2B5EF4-FFF2-40B4-BE49-F238E27FC236}">
                <a16:creationId xmlns:a16="http://schemas.microsoft.com/office/drawing/2014/main" id="{B0523E0B-41D0-48B6-AD49-E970564C45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0988" y="2408362"/>
            <a:ext cx="6362024" cy="345199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D0CC900-C393-4A67-A86C-CB3DE3BE8389}"/>
                  </a:ext>
                </a:extLst>
              </p:cNvPr>
              <p:cNvSpPr txBox="1"/>
              <p:nvPr/>
            </p:nvSpPr>
            <p:spPr>
              <a:xfrm>
                <a:off x="2698955" y="1498663"/>
                <a:ext cx="3746090" cy="4397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𝛼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D0CC900-C393-4A67-A86C-CB3DE3BE83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98955" y="1498663"/>
                <a:ext cx="3746090" cy="43973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1385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时序差分反向传播（</a:t>
            </a:r>
            <a:r>
              <a:rPr lang="en-US" altLang="zh-CN" dirty="0"/>
              <a:t>Backup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pic>
        <p:nvPicPr>
          <p:cNvPr id="8" name="图片 3">
            <a:extLst>
              <a:ext uri="{FF2B5EF4-FFF2-40B4-BE49-F238E27FC236}">
                <a16:creationId xmlns:a16="http://schemas.microsoft.com/office/drawing/2014/main" id="{F5EE22B5-6E3A-4698-BDCB-C9B4631313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6902" y="2408335"/>
            <a:ext cx="6470196" cy="365600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F2EEA1-867C-40CE-9CE5-F6B89C5AA691}"/>
                  </a:ext>
                </a:extLst>
              </p:cNvPr>
              <p:cNvSpPr txBox="1"/>
              <p:nvPr/>
            </p:nvSpPr>
            <p:spPr>
              <a:xfrm>
                <a:off x="1608938" y="1507064"/>
                <a:ext cx="5926124" cy="4397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𝛼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𝛾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F2EEA1-867C-40CE-9CE5-F6B89C5AA6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8938" y="1507064"/>
                <a:ext cx="5926124" cy="439736"/>
              </a:xfrm>
              <a:prstGeom prst="rect">
                <a:avLst/>
              </a:prstGeom>
              <a:blipFill>
                <a:blip r:embed="rId6"/>
                <a:stretch>
                  <a:fillRect b="-694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5129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无模型的强化学习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1078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动态规划反向传播（</a:t>
            </a:r>
            <a:r>
              <a:rPr lang="en-US" altLang="zh-CN" dirty="0"/>
              <a:t>Backup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F2EEA1-867C-40CE-9CE5-F6B89C5AA691}"/>
                  </a:ext>
                </a:extLst>
              </p:cNvPr>
              <p:cNvSpPr txBox="1"/>
              <p:nvPr/>
            </p:nvSpPr>
            <p:spPr>
              <a:xfrm>
                <a:off x="1608938" y="1507064"/>
                <a:ext cx="5926124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𝔼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𝛾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2F2EEA1-867C-40CE-9CE5-F6B89C5AA6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8938" y="1507064"/>
                <a:ext cx="5926124" cy="400110"/>
              </a:xfrm>
              <a:prstGeom prst="rect">
                <a:avLst/>
              </a:prstGeom>
              <a:blipFill>
                <a:blip r:embed="rId5"/>
                <a:stretch>
                  <a:fillRect b="-1363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图片 4">
            <a:extLst>
              <a:ext uri="{FF2B5EF4-FFF2-40B4-BE49-F238E27FC236}">
                <a16:creationId xmlns:a16="http://schemas.microsoft.com/office/drawing/2014/main" id="{0E71F265-37D2-4743-A325-9DBEF209BF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4667" y="2293290"/>
            <a:ext cx="6434343" cy="3799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97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多步时序查分学习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593594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有时间约束的情况，我们可以跳过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</m:oMath>
                </a14:m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步预测的部分，直接进入模型无关的控制</a:t>
                </a:r>
                <a:endParaRPr lang="en-US" altLang="zh-CN" dirty="0">
                  <a:solidFill>
                    <a:srgbClr val="00B0F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义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步累计奖励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i="1" dirty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𝐺</m:t>
                          </m:r>
                        </m:e>
                        <m: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  <m:sup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𝑛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p>
                      </m:sSubSup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1</m:t>
                          </m:r>
                        </m:sub>
                      </m:sSub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𝛾</m:t>
                      </m:r>
                      <m:sSub>
                        <m:sSub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2</m:t>
                          </m:r>
                        </m:sub>
                      </m:sSub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…+</m:t>
                      </m:r>
                      <m:sSup>
                        <m:sSup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</m:e>
                        <m:sup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𝑛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1</m:t>
                          </m:r>
                        </m:sup>
                      </m:sSup>
                      <m:sSub>
                        <m:sSub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</m:e>
                        <m: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𝑛</m:t>
                          </m:r>
                        </m:sub>
                      </m:sSub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sSup>
                        <m:sSup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</m:e>
                        <m:sup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𝑛</m:t>
                          </m:r>
                        </m:sup>
                      </m:sSup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𝑆</m:t>
                          </m:r>
                        </m:e>
                        <m: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𝑛</m:t>
                          </m:r>
                        </m:sub>
                      </m:sSub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步时序差分学习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𝑉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𝑛</m:t>
                                  </m:r>
                                </m:e>
                              </m:d>
                            </m:sup>
                          </m:sSub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d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593594" cy="5237138"/>
              </a:xfrm>
              <a:prstGeom prst="rect">
                <a:avLst/>
              </a:prstGeom>
              <a:blipFill>
                <a:blip r:embed="rId5"/>
                <a:stretch>
                  <a:fillRect l="-4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3">
            <a:extLst>
              <a:ext uri="{FF2B5EF4-FFF2-40B4-BE49-F238E27FC236}">
                <a16:creationId xmlns:a16="http://schemas.microsoft.com/office/drawing/2014/main" id="{51F0355D-CD6B-4712-98A7-F18C4EF22A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4220" y="4773809"/>
            <a:ext cx="6194937" cy="174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03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总览强化学习值函数估计多种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9014577-F29D-461B-8D58-40F274E848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333" y="1137563"/>
            <a:ext cx="6199994" cy="5447198"/>
          </a:xfrm>
          <a:prstGeom prst="rect">
            <a:avLst/>
          </a:prstGeom>
        </p:spPr>
      </p:pic>
      <p:sp>
        <p:nvSpPr>
          <p:cNvPr id="10" name="页脚占位符 1">
            <a:extLst>
              <a:ext uri="{FF2B5EF4-FFF2-40B4-BE49-F238E27FC236}">
                <a16:creationId xmlns:a16="http://schemas.microsoft.com/office/drawing/2014/main" id="{820B417D-8528-4000-956E-C24C15F2B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477032"/>
            <a:ext cx="5362898" cy="206381"/>
          </a:xfrm>
        </p:spPr>
        <p:txBody>
          <a:bodyPr/>
          <a:lstStyle/>
          <a:p>
            <a:r>
              <a:rPr lang="en-US" dirty="0"/>
              <a:t>Slide credit: David Silve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89273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值函数估计总结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3515A53-D28B-4149-8676-420D29BF5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4" y="1273629"/>
            <a:ext cx="8137922" cy="4863646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无模型的强化学习在黑盒环境下使用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要优化智能体策略，首要任务则是精准、高效地估计状态或者</a:t>
            </a:r>
            <a:r>
              <a:rPr lang="en-US" altLang="zh-CN" sz="2000" dirty="0"/>
              <a:t>(</a:t>
            </a:r>
            <a:r>
              <a:rPr lang="zh-CN" altLang="en-US" sz="2000" dirty="0"/>
              <a:t>状态、动作</a:t>
            </a:r>
            <a:r>
              <a:rPr lang="en-US" altLang="zh-CN" sz="2000" dirty="0"/>
              <a:t>)</a:t>
            </a:r>
            <a:r>
              <a:rPr lang="zh-CN" altLang="en-US" sz="2000" dirty="0"/>
              <a:t>的价值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在黑盒环境下，值函数的估计方法主要包括蒙特卡洛方法和时序差分法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蒙特卡洛方法通过采样到底的方式直接估计价值函数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时序差分学习通过下一步的价值估计来更新当前一步的价值估计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/>
              <a:t>实际使用中，时序差分方法更加常见</a:t>
            </a:r>
            <a:endParaRPr lang="en-US" altLang="zh-CN" sz="2000" dirty="0"/>
          </a:p>
          <a:p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263722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无模型的强化学习（</a:t>
            </a:r>
            <a:r>
              <a:rPr lang="en-US" altLang="zh-CN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odel-free RL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7" y="1209707"/>
                <a:ext cx="7958627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现实问题中，通常没有明确地给出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，我们仅能观察到部分片段（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pisodes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pisode 1: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  <m:sup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e>
                        </m:d>
                      </m:sup>
                    </m:sSubSup>
                    <m:limUpp>
                      <m:limUp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0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1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1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1)</m:t>
                        </m:r>
                      </m:sup>
                    </m:sSubSup>
                    <m:limUpp>
                      <m:limUp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1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1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1)</m:t>
                        </m:r>
                      </m:sup>
                    </m:sSubSup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limUpp>
                      <m:limUp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1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1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3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1)</m:t>
                        </m:r>
                      </m:sup>
                    </m:sSub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…</m:t>
                    </m:r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𝑇</m:t>
                        </m:r>
                      </m:sub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1)</m:t>
                        </m:r>
                      </m:sup>
                    </m:sSub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pisode 2: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  <m:sup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e>
                        </m:d>
                      </m:sup>
                    </m:sSubSup>
                    <m:limUpp>
                      <m:limUp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0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2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p>
                    </m:sSubSup>
                    <m:limUpp>
                      <m:limUp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2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p>
                    </m:sSubSup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limUpp>
                      <m:limUp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2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3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p>
                    </m:sSub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…</m:t>
                    </m:r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𝑇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p>
                    </m:sSub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模型无关的强化学习直接从经验中学习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value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policy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而无需构建马尔可夫决策过程模型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关键步骤：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估计值函数；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2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优化策略</a:t>
                </a: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7" y="1209707"/>
                <a:ext cx="7958627" cy="5237138"/>
              </a:xfrm>
              <a:prstGeom prst="rect">
                <a:avLst/>
              </a:prstGeom>
              <a:blipFill>
                <a:blip r:embed="rId5"/>
                <a:stretch>
                  <a:fillRect l="-46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7346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值函数估计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846442" cy="564829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基于模型的强化学习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中，值函数能够通过动态规划计算获得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25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…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=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</m:d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𝑆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</m:e>
                          </m:nary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模型无关的强化学习中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我们无法直接获得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𝑃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和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</m:oMath>
                </a14:m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但是，我们拥有一系列可以用来估计值函数的经验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12000"/>
                  </a:lnSpc>
                  <a:buNone/>
                </a:pP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pisode 1: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  <m:sup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e>
                        </m:d>
                      </m:sup>
                    </m:sSubSup>
                    <m:limUpp>
                      <m:limUp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0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1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1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1)</m:t>
                        </m:r>
                      </m:sup>
                    </m:sSubSup>
                    <m:limUpp>
                      <m:limUp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1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1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1)</m:t>
                        </m:r>
                      </m:sup>
                    </m:sSubSup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limUpp>
                      <m:limUp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b="0" i="1" smtClean="0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1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1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3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1)</m:t>
                        </m:r>
                      </m:sup>
                    </m:sSub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…</m:t>
                    </m:r>
                    <m:sSubSup>
                      <m:sSub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𝑇</m:t>
                        </m:r>
                      </m:sub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1)</m:t>
                        </m:r>
                      </m:sup>
                    </m:sSub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12000"/>
                  </a:lnSpc>
                  <a:buNone/>
                </a:pP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pisode 2: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  <m:sup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e>
                        </m:d>
                      </m:sup>
                    </m:sSubSup>
                    <m:limUpp>
                      <m:limUp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0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2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p>
                    </m:sSubSup>
                    <m:limUpp>
                      <m:limUp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2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p>
                    </m:sSubSup>
                  </m:oMath>
                </a14:m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limUpp>
                      <m:limUp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UppPr>
                      <m:e>
                        <m:groupChr>
                          <m:groupChrPr>
                            <m:chr m:val="→"/>
                            <m:pos m:val="top"/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groupChrPr>
                          <m:e>
                            <m:r>
                              <m:rPr>
                                <m:brk m:alnAt="1"/>
                              </m:r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𝑅</m:t>
                            </m:r>
                            <m:sSup>
                              <m:s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brk m:alnAt="1"/>
                                          </m:rP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𝑠</m:t>
                                        </m:r>
                                      </m:e>
                                      <m:sub>
                                        <m:r>
                                          <a:rPr lang="en-US" altLang="zh-CN" i="1">
                                            <a:latin typeface="Cambria Math" panose="02040503050406030204" pitchFamily="18" charset="0"/>
                                            <a:ea typeface="阿里巴巴普惠体 R" panose="00020600040101010101" pitchFamily="18" charset="-122"/>
                                            <a:cs typeface="阿里巴巴普惠体 R" panose="00020600040101010101" pitchFamily="18" charset="-122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e>
                                </m:d>
                              </m:e>
                              <m:sup>
                                <m:d>
                                  <m:dPr>
                                    <m:ctrlPr>
                                      <a:rPr lang="en-US" altLang="zh-CN" i="1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2</m:t>
                                    </m:r>
                                  </m:e>
                                </m:d>
                              </m:sup>
                            </m:sSup>
                          </m:e>
                        </m:groupChr>
                      </m:e>
                      <m:lim>
                        <m:sSubSup>
                          <m:sSub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)</m:t>
                            </m:r>
                          </m:sup>
                        </m:sSubSup>
                      </m:lim>
                    </m:limUpp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3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p>
                    </m:sSubSup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…</m:t>
                    </m:r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𝑇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sup>
                    </m:sSub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846442" cy="5648294"/>
              </a:xfrm>
              <a:prstGeom prst="rect">
                <a:avLst/>
              </a:prstGeom>
              <a:blipFill>
                <a:blip r:embed="rId5"/>
                <a:stretch>
                  <a:fillRect l="-46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684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3755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蒙特卡洛方法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8E607DC-5ED4-45E6-BA10-468B24426A16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767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蒙特卡洛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593594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蒙特卡洛方法（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onte-Carlo methods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一类广泛的计算算法。生活中处处都是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C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方法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依赖于重复随机抽样来获得数值结果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，计算圆的面积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Circle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Surface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 </m:t>
                      </m:r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Square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Surface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×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#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points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in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circle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#</m:t>
                          </m:r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points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in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total</m:t>
                          </m:r>
                        </m:den>
                      </m:f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593594" cy="5237138"/>
              </a:xfrm>
              <a:prstGeom prst="rect">
                <a:avLst/>
              </a:prstGeom>
              <a:blipFill>
                <a:blip r:embed="rId5"/>
                <a:stretch>
                  <a:fillRect l="-4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组合 8">
            <a:extLst>
              <a:ext uri="{FF2B5EF4-FFF2-40B4-BE49-F238E27FC236}">
                <a16:creationId xmlns:a16="http://schemas.microsoft.com/office/drawing/2014/main" id="{6325B5BE-E7EC-40ED-96B2-91BCE0ACF8E3}"/>
              </a:ext>
            </a:extLst>
          </p:cNvPr>
          <p:cNvGrpSpPr/>
          <p:nvPr/>
        </p:nvGrpSpPr>
        <p:grpSpPr>
          <a:xfrm>
            <a:off x="1251050" y="3311194"/>
            <a:ext cx="6641900" cy="2103133"/>
            <a:chOff x="793587" y="3491592"/>
            <a:chExt cx="6641900" cy="2103133"/>
          </a:xfrm>
        </p:grpSpPr>
        <p:pic>
          <p:nvPicPr>
            <p:cNvPr id="6" name="Picture 2" descr="https://62e528761d0685343e1c-f3d1b99a743ffa4142d9d7f1978d9686.ssl.cf2.rackcdn.com/files/114488/width237/image-20160309-13717-1c27vzw.png">
              <a:extLst>
                <a:ext uri="{FF2B5EF4-FFF2-40B4-BE49-F238E27FC236}">
                  <a16:creationId xmlns:a16="http://schemas.microsoft.com/office/drawing/2014/main" id="{C03A8B62-BD43-46F0-915E-8293C9C62B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93587" y="3548742"/>
              <a:ext cx="1988834" cy="1988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http://paulbourke.net/geometry/circlesphere/diagram1.gif">
              <a:extLst>
                <a:ext uri="{FF2B5EF4-FFF2-40B4-BE49-F238E27FC236}">
                  <a16:creationId xmlns:a16="http://schemas.microsoft.com/office/drawing/2014/main" id="{43ED0B86-C12F-43B6-A3A0-FEF359FCC3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3976"/>
            <a:stretch/>
          </p:blipFill>
          <p:spPr bwMode="auto">
            <a:xfrm flipH="1">
              <a:off x="2984522" y="3491592"/>
              <a:ext cx="2161947" cy="21031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6" descr="http://3.bp.blogspot.com/-rgY-GVwlweE/UXS9kFAy_sI/AAAAAAAAA04/95SUkNbHIDI/s640/Capture2.GIF">
              <a:extLst>
                <a:ext uri="{FF2B5EF4-FFF2-40B4-BE49-F238E27FC236}">
                  <a16:creationId xmlns:a16="http://schemas.microsoft.com/office/drawing/2014/main" id="{BE38D06E-48BD-4179-BB92-E0ACB0BEE78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59" t="26346" r="7914" b="10951"/>
            <a:stretch/>
          </p:blipFill>
          <p:spPr bwMode="auto">
            <a:xfrm flipH="1">
              <a:off x="5348570" y="3496620"/>
              <a:ext cx="2086917" cy="20529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4280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蒙特卡洛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209707"/>
                <a:ext cx="7593594" cy="523713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围棋对弈：估计当前状态下的胜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Win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Rate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#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win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simulation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cases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started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from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#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simulation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cases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started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from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in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total</m:t>
                          </m:r>
                        </m:den>
                      </m:f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D5B38259-0A6A-4BAA-BA7E-2BC782776C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209707"/>
                <a:ext cx="7593594" cy="5237138"/>
              </a:xfrm>
              <a:prstGeom prst="rect">
                <a:avLst/>
              </a:prstGeom>
              <a:blipFill>
                <a:blip r:embed="rId5"/>
                <a:stretch>
                  <a:fillRect l="-4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3">
            <a:extLst>
              <a:ext uri="{FF2B5EF4-FFF2-40B4-BE49-F238E27FC236}">
                <a16:creationId xmlns:a16="http://schemas.microsoft.com/office/drawing/2014/main" id="{D7B188CF-91B6-4EC1-BD34-A841CEBCDF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7385" y="1856753"/>
            <a:ext cx="3313155" cy="3321908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08DC3521-D2F4-43AC-B38B-9D9C36CBA1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0668" y="1771538"/>
            <a:ext cx="2454562" cy="3314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14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56219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蒙特卡洛价值预测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07D4BF0-FD08-446A-A298-0CF98A8D32A8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7870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4.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8.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.8|82.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3.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751</TotalTime>
  <Words>1778</Words>
  <Application>Microsoft Office PowerPoint</Application>
  <PresentationFormat>全屏显示(4:3)</PresentationFormat>
  <Paragraphs>308</Paragraphs>
  <Slides>34</Slides>
  <Notes>3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5" baseType="lpstr">
      <vt:lpstr>Alibaba PuHuiTi</vt:lpstr>
      <vt:lpstr>阿里巴巴普惠体 B</vt:lpstr>
      <vt:lpstr>阿里巴巴普惠体 R</vt:lpstr>
      <vt:lpstr>Microsoft YaHei</vt:lpstr>
      <vt:lpstr>Arial</vt:lpstr>
      <vt:lpstr>Calibri</vt:lpstr>
      <vt:lpstr>Cambria Math</vt:lpstr>
      <vt:lpstr>Wingdings</vt:lpstr>
      <vt:lpstr>主题5</vt:lpstr>
      <vt:lpstr>2_主题5</vt:lpstr>
      <vt:lpstr>think-cell Slide</vt:lpstr>
      <vt:lpstr>PowerPoint 演示文稿</vt:lpstr>
      <vt:lpstr>课程大纲</vt:lpstr>
      <vt:lpstr>PowerPoint 演示文稿</vt:lpstr>
      <vt:lpstr>无模型的强化学习（Model-free RL）</vt:lpstr>
      <vt:lpstr>值函数估计</vt:lpstr>
      <vt:lpstr>PowerPoint 演示文稿</vt:lpstr>
      <vt:lpstr>蒙特卡洛方法</vt:lpstr>
      <vt:lpstr>蒙特卡洛方法</vt:lpstr>
      <vt:lpstr>PowerPoint 演示文稿</vt:lpstr>
      <vt:lpstr>蒙特卡洛价值估计</vt:lpstr>
      <vt:lpstr>蒙特卡洛价值估计</vt:lpstr>
      <vt:lpstr>增量蒙特卡洛更新</vt:lpstr>
      <vt:lpstr>蒙特卡洛值估计</vt:lpstr>
      <vt:lpstr>PowerPoint 演示文稿</vt:lpstr>
      <vt:lpstr>重要性采样</vt:lpstr>
      <vt:lpstr>使用重要性采样的离线策略蒙特卡洛</vt:lpstr>
      <vt:lpstr>使用重要性采样的离线策略蒙特卡洛</vt:lpstr>
      <vt:lpstr>使用重要性采样的离线策略时序差分</vt:lpstr>
      <vt:lpstr>PowerPoint 演示文稿</vt:lpstr>
      <vt:lpstr>时序差分学习（Temporal Difference Learning）</vt:lpstr>
      <vt:lpstr>蒙特卡洛 vs. 时序差分（MC vs. TD)</vt:lpstr>
      <vt:lpstr>驾车回家的例子（MC vs. TD)</vt:lpstr>
      <vt:lpstr>蒙特卡洛（MC）和时序差分（TD）的优缺点</vt:lpstr>
      <vt:lpstr>偏差（Bias）/方差（Variance）的权衡</vt:lpstr>
      <vt:lpstr>蒙特卡洛（MC）和时序差分（TD）的优缺点（2）</vt:lpstr>
      <vt:lpstr>随机游走的例子</vt:lpstr>
      <vt:lpstr>随机游走的例子</vt:lpstr>
      <vt:lpstr>蒙特卡洛反向传播（Backup）</vt:lpstr>
      <vt:lpstr>时序差分反向传播（Backup）</vt:lpstr>
      <vt:lpstr>动态规划反向传播（Backup）</vt:lpstr>
      <vt:lpstr>多步时序查分学习</vt:lpstr>
      <vt:lpstr>总览强化学习值函数估计多种方法</vt:lpstr>
      <vt:lpstr>值函数估计总结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-值函数估计</dc:title>
  <dc:creator>Weinan Zhang</dc:creator>
  <cp:lastModifiedBy>Zhang Weinan</cp:lastModifiedBy>
  <cp:revision>197</cp:revision>
  <cp:lastPrinted>2019-07-12T11:51:00Z</cp:lastPrinted>
  <dcterms:created xsi:type="dcterms:W3CDTF">2019-04-27T16:00:00Z</dcterms:created>
  <dcterms:modified xsi:type="dcterms:W3CDTF">2022-05-16T08:5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